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5"/>
  </p:notesMasterIdLst>
  <p:sldIdLst>
    <p:sldId id="297" r:id="rId2"/>
    <p:sldId id="349" r:id="rId3"/>
    <p:sldId id="394" r:id="rId4"/>
    <p:sldId id="395" r:id="rId5"/>
    <p:sldId id="582" r:id="rId6"/>
    <p:sldId id="397" r:id="rId7"/>
    <p:sldId id="447" r:id="rId8"/>
    <p:sldId id="400" r:id="rId9"/>
    <p:sldId id="401" r:id="rId10"/>
    <p:sldId id="402" r:id="rId11"/>
    <p:sldId id="299" r:id="rId12"/>
    <p:sldId id="350" r:id="rId13"/>
    <p:sldId id="383" r:id="rId14"/>
    <p:sldId id="384" r:id="rId15"/>
    <p:sldId id="385" r:id="rId16"/>
    <p:sldId id="387" r:id="rId17"/>
    <p:sldId id="388" r:id="rId18"/>
    <p:sldId id="389" r:id="rId19"/>
    <p:sldId id="391" r:id="rId20"/>
    <p:sldId id="390" r:id="rId21"/>
    <p:sldId id="448" r:id="rId22"/>
    <p:sldId id="449" r:id="rId23"/>
    <p:sldId id="405" r:id="rId24"/>
    <p:sldId id="386" r:id="rId25"/>
    <p:sldId id="414" r:id="rId26"/>
    <p:sldId id="451" r:id="rId27"/>
    <p:sldId id="415" r:id="rId28"/>
    <p:sldId id="416" r:id="rId29"/>
    <p:sldId id="274" r:id="rId30"/>
    <p:sldId id="356" r:id="rId31"/>
    <p:sldId id="357" r:id="rId32"/>
    <p:sldId id="417" r:id="rId33"/>
    <p:sldId id="419" r:id="rId34"/>
    <p:sldId id="422" r:id="rId35"/>
    <p:sldId id="428" r:id="rId36"/>
    <p:sldId id="429" r:id="rId37"/>
    <p:sldId id="453" r:id="rId38"/>
    <p:sldId id="432" r:id="rId39"/>
    <p:sldId id="438" r:id="rId40"/>
    <p:sldId id="454" r:id="rId41"/>
    <p:sldId id="459" r:id="rId42"/>
    <p:sldId id="457" r:id="rId43"/>
    <p:sldId id="461" r:id="rId4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72" autoAdjust="0"/>
    <p:restoredTop sz="94162" autoAdjust="0"/>
  </p:normalViewPr>
  <p:slideViewPr>
    <p:cSldViewPr snapToGrid="0">
      <p:cViewPr varScale="1">
        <p:scale>
          <a:sx n="124" d="100"/>
          <a:sy n="124" d="100"/>
        </p:scale>
        <p:origin x="1280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/2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4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A90D603-3AC1-4957-9F06-296EB9CD5782}" type="slidenum">
              <a:rPr lang="en-US" altLang="en-US" smtClean="0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093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es NOT check for co-linear variables</a:t>
            </a:r>
          </a:p>
          <a:p>
            <a:r>
              <a:rPr lang="en-US" dirty="0"/>
              <a:t>Does not perform outlier suppression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nternal Purposes Only – Not to Be Distribu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A11036-11C8-453C-818D-B090064BB0A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395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/25/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/2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/25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/25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/25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/25/24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/25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/25/24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/25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/25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/2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/25/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2126D8E-C529-2692-2E73-A2E59D7FD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FE41A7FC-7935-CAA4-DB4D-AB27CC0F2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02990A0-6B47-7289-78AF-BA9B87C35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0B41523-98F7-B0F1-E4F5-D7B20E509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2C038C8-166E-F574-B47B-C88E121D8A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8B10EB9-B815-3147-4C78-0A774B8003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AB45063-6F42-D778-8B90-65A0819B04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1EA537C-C425-A014-9F3E-C261687F22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B6477B5-829B-B277-C153-08F874ED0D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E397B81-A840-07BF-F056-8AF48B83F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63426E5C-9379-D1C0-BCA3-0934A40D2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6FE8A72-FC36-2C17-E548-8CF5F4E73E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C4699AA-68E6-96AD-DB0A-440CE11BD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D7EC099-E780-95C7-5668-F7609A9B3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9EF99F9-0749-01B4-3289-129CBABF83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F6C64F35-9B02-8D43-ADC7-4B85B893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4D77140-3EE8-CBD1-8D91-4CA78A933E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5A2C4C6-818C-DA48-97D2-8650FCDB87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171E6112-765D-D6C5-22BD-9BC5D3FE4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AA009D2-F2C8-3700-B7A3-8E4EDA1C1F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769780" y="3163528"/>
            <a:ext cx="38576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Data Processing: cleanup, dimension reduction, feature engineering &amp; feature enrichment</a:t>
            </a:r>
          </a:p>
        </p:txBody>
      </p:sp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pPr eaLnBrk="1" hangingPunct="1"/>
            <a:r>
              <a:rPr lang="en-US" altLang="en-US" sz="3600" dirty="0"/>
              <a:t>Modeling Process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sz="quarter" idx="1"/>
          </p:nvPr>
        </p:nvSpPr>
        <p:spPr>
          <a:xfrm>
            <a:off x="528637" y="1266818"/>
            <a:ext cx="3829050" cy="433388"/>
          </a:xfrm>
          <a:solidFill>
            <a:schemeClr val="accent2"/>
          </a:solidFill>
        </p:spPr>
        <p:txBody>
          <a:bodyPr>
            <a:normAutofit lnSpcReduction="10000"/>
          </a:bodyPr>
          <a:lstStyle/>
          <a:p>
            <a:pPr marL="0" indent="0" eaLnBrk="1" hangingPunct="1">
              <a:buNone/>
            </a:pPr>
            <a:r>
              <a:rPr lang="en-US" altLang="en-US" sz="2800" dirty="0">
                <a:solidFill>
                  <a:schemeClr val="bg1"/>
                </a:solidFill>
                <a:latin typeface="Franklin Gothic Book" pitchFamily="34" charset="0"/>
              </a:rPr>
              <a:t>SEMMA (from SAS)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FCA8A2A-BA2A-4F59-BDF1-B1C7549B90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5/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67524C8B-E040-46C3-90CB-4F7DAB9FD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14</a:t>
            </a:r>
          </a:p>
        </p:txBody>
      </p:sp>
      <p:sp>
        <p:nvSpPr>
          <p:cNvPr id="3" name="Pentagon 2"/>
          <p:cNvSpPr/>
          <p:nvPr/>
        </p:nvSpPr>
        <p:spPr>
          <a:xfrm>
            <a:off x="514342" y="18716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1. Sample</a:t>
            </a:r>
          </a:p>
        </p:txBody>
      </p:sp>
      <p:sp>
        <p:nvSpPr>
          <p:cNvPr id="9" name="Pentagon 8"/>
          <p:cNvSpPr/>
          <p:nvPr/>
        </p:nvSpPr>
        <p:spPr>
          <a:xfrm>
            <a:off x="514342" y="250983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2. Explore</a:t>
            </a:r>
          </a:p>
        </p:txBody>
      </p:sp>
      <p:sp>
        <p:nvSpPr>
          <p:cNvPr id="10" name="Pentagon 9"/>
          <p:cNvSpPr/>
          <p:nvPr/>
        </p:nvSpPr>
        <p:spPr>
          <a:xfrm>
            <a:off x="514342" y="314800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3. Modify</a:t>
            </a:r>
          </a:p>
        </p:txBody>
      </p:sp>
      <p:sp>
        <p:nvSpPr>
          <p:cNvPr id="11" name="Pentagon 10"/>
          <p:cNvSpPr/>
          <p:nvPr/>
        </p:nvSpPr>
        <p:spPr>
          <a:xfrm>
            <a:off x="514342" y="378618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4. Model</a:t>
            </a:r>
          </a:p>
        </p:txBody>
      </p:sp>
      <p:sp>
        <p:nvSpPr>
          <p:cNvPr id="12" name="Pentagon 11"/>
          <p:cNvSpPr/>
          <p:nvPr/>
        </p:nvSpPr>
        <p:spPr>
          <a:xfrm>
            <a:off x="514342" y="44243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5. Asses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786381" y="24145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2452686"/>
            <a:ext cx="3819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As part of your analysis you perform basic exploratory data analysis (EDA)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1099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786381" y="37528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4786381" y="44100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69780" y="1809750"/>
            <a:ext cx="3819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In this course, most data sets are curated for you, but partitioning is done to avoid overfitting.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4667249" y="1262056"/>
            <a:ext cx="3829050" cy="433388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prstClr val="white"/>
                </a:solidFill>
                <a:latin typeface="Franklin Gothic Book" pitchFamily="34" charset="0"/>
              </a:rPr>
              <a:t>In this course…</a:t>
            </a:r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FCA49CEF-ACAC-FE4E-922F-E081DB42EE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93FA6C-EA8C-0585-520C-1BD12972CD81}"/>
              </a:ext>
            </a:extLst>
          </p:cNvPr>
          <p:cNvSpPr txBox="1"/>
          <p:nvPr/>
        </p:nvSpPr>
        <p:spPr>
          <a:xfrm>
            <a:off x="4772035" y="3761444"/>
            <a:ext cx="3857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You will learn regression, logistic regression, decision tree and random forest (time permitting).  You are expected to try all that are appropriate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7D26BB-AE62-0519-8D71-3D9D1EFB7C0D}"/>
              </a:ext>
            </a:extLst>
          </p:cNvPr>
          <p:cNvSpPr txBox="1"/>
          <p:nvPr/>
        </p:nvSpPr>
        <p:spPr>
          <a:xfrm>
            <a:off x="4714943" y="4579252"/>
            <a:ext cx="38576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Many KPI, but in this intro class we will use Accuracy for classification and RMSE, MAPE for regres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BF91AF-4F80-D4F7-2F6D-07C8D0EE6BA8}"/>
              </a:ext>
            </a:extLst>
          </p:cNvPr>
          <p:cNvSpPr/>
          <p:nvPr/>
        </p:nvSpPr>
        <p:spPr>
          <a:xfrm>
            <a:off x="4818151" y="3170468"/>
            <a:ext cx="3678148" cy="51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will just use library(</a:t>
            </a:r>
            <a:r>
              <a:rPr lang="en-US" dirty="0" err="1"/>
              <a:t>vtreat</a:t>
            </a:r>
            <a:r>
              <a:rPr lang="en-US" dirty="0"/>
              <a:t>) for variable treatment</a:t>
            </a:r>
          </a:p>
        </p:txBody>
      </p:sp>
    </p:spTree>
    <p:extLst>
      <p:ext uri="{BB962C8B-B14F-4D97-AF65-F5344CB8AC3E}">
        <p14:creationId xmlns:p14="http://schemas.microsoft.com/office/powerpoint/2010/main" val="3618972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BF71030-9D88-77AD-E7EC-8AD7818AA3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D0B2-08F3-49C5-A308-8FFE3F73F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Treatment: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library(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vtrea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C96F04-31FB-4BD3-AB03-52519688B62F}"/>
              </a:ext>
            </a:extLst>
          </p:cNvPr>
          <p:cNvSpPr txBox="1"/>
          <p:nvPr/>
        </p:nvSpPr>
        <p:spPr>
          <a:xfrm>
            <a:off x="335472" y="6059573"/>
            <a:ext cx="265680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Organize Informative Data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AFD3111-0707-4032-AF28-502B9E395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472" y="5672010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1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75E59DA-02BA-45C7-9A23-360111548E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6316" y="4646571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2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AD2D8712-DCBE-4647-A81D-43F88529C648}"/>
              </a:ext>
            </a:extLst>
          </p:cNvPr>
          <p:cNvSpPr>
            <a:spLocks/>
          </p:cNvSpPr>
          <p:nvPr/>
        </p:nvSpPr>
        <p:spPr bwMode="auto">
          <a:xfrm>
            <a:off x="217710" y="3472048"/>
            <a:ext cx="8404313" cy="3088409"/>
          </a:xfrm>
          <a:custGeom>
            <a:avLst/>
            <a:gdLst>
              <a:gd name="T0" fmla="*/ 0 w 5281"/>
              <a:gd name="T1" fmla="*/ 2147483647 h 1635"/>
              <a:gd name="T2" fmla="*/ 0 w 5281"/>
              <a:gd name="T3" fmla="*/ 2147483647 h 1635"/>
              <a:gd name="T4" fmla="*/ 2147483647 w 5281"/>
              <a:gd name="T5" fmla="*/ 2147483647 h 1635"/>
              <a:gd name="T6" fmla="*/ 2147483647 w 5281"/>
              <a:gd name="T7" fmla="*/ 2147483647 h 1635"/>
              <a:gd name="T8" fmla="*/ 2147483647 w 5281"/>
              <a:gd name="T9" fmla="*/ 2147483647 h 1635"/>
              <a:gd name="T10" fmla="*/ 2147483647 w 5281"/>
              <a:gd name="T11" fmla="*/ 0 h 1635"/>
              <a:gd name="T12" fmla="*/ 2147483647 w 5281"/>
              <a:gd name="T13" fmla="*/ 0 h 16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81"/>
              <a:gd name="T22" fmla="*/ 0 h 1635"/>
              <a:gd name="T23" fmla="*/ 5281 w 5281"/>
              <a:gd name="T24" fmla="*/ 1635 h 16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81" h="1635">
                <a:moveTo>
                  <a:pt x="0" y="1634"/>
                </a:moveTo>
                <a:lnTo>
                  <a:pt x="0" y="1089"/>
                </a:lnTo>
                <a:lnTo>
                  <a:pt x="1760" y="1089"/>
                </a:lnTo>
                <a:lnTo>
                  <a:pt x="1760" y="544"/>
                </a:lnTo>
                <a:lnTo>
                  <a:pt x="3520" y="544"/>
                </a:lnTo>
                <a:lnTo>
                  <a:pt x="3520" y="0"/>
                </a:lnTo>
                <a:lnTo>
                  <a:pt x="5280" y="0"/>
                </a:lnTo>
              </a:path>
            </a:pathLst>
          </a:custGeom>
          <a:noFill/>
          <a:ln w="9525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en-US" sz="1350" kern="0" dirty="0">
              <a:solidFill>
                <a:prstClr val="black"/>
              </a:solidFill>
            </a:endParaRPr>
          </a:p>
        </p:txBody>
      </p:sp>
      <p:sp>
        <p:nvSpPr>
          <p:cNvPr id="16" name="Text Box 6">
            <a:extLst>
              <a:ext uri="{FF2B5EF4-FFF2-40B4-BE49-F238E27FC236}">
                <a16:creationId xmlns:a16="http://schemas.microsoft.com/office/drawing/2014/main" id="{1A07897B-57C8-4C39-AADB-282A244123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4539" y="3592925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E10A04-B818-4A76-B304-B20DAA4838F5}"/>
              </a:ext>
            </a:extLst>
          </p:cNvPr>
          <p:cNvSpPr txBox="1"/>
          <p:nvPr/>
        </p:nvSpPr>
        <p:spPr>
          <a:xfrm>
            <a:off x="3136316" y="5025721"/>
            <a:ext cx="265680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Design Treatment” - </a:t>
            </a:r>
            <a:r>
              <a:rPr lang="en-US" sz="825" kern="0" dirty="0">
                <a:solidFill>
                  <a:srgbClr val="313131"/>
                </a:solidFill>
              </a:rPr>
              <a:t>Categorical or Numeric outcom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653F06-0C36-4048-B4A3-797AF8508B35}"/>
              </a:ext>
            </a:extLst>
          </p:cNvPr>
          <p:cNvSpPr txBox="1"/>
          <p:nvPr/>
        </p:nvSpPr>
        <p:spPr>
          <a:xfrm>
            <a:off x="5944539" y="3967045"/>
            <a:ext cx="2656806" cy="1718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Prepare</a:t>
            </a:r>
            <a:r>
              <a:rPr lang="en-US" sz="825" kern="0" dirty="0">
                <a:solidFill>
                  <a:srgbClr val="313131"/>
                </a:solidFill>
              </a:rPr>
              <a:t>” Data into a treated Modeling Matrix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EFA6B70-DD9F-47CB-A51C-8EF08917C445}"/>
              </a:ext>
            </a:extLst>
          </p:cNvPr>
          <p:cNvGrpSpPr/>
          <p:nvPr/>
        </p:nvGrpSpPr>
        <p:grpSpPr>
          <a:xfrm>
            <a:off x="1219576" y="3563675"/>
            <a:ext cx="977216" cy="1779310"/>
            <a:chOff x="381000" y="4800600"/>
            <a:chExt cx="1219200" cy="175260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38CE6F1-BE19-4552-AEF9-415493EAA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5313" y="5010150"/>
              <a:ext cx="790575" cy="13335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D588874-D4BF-4AD9-8934-63298E825E3B}"/>
                </a:ext>
              </a:extLst>
            </p:cNvPr>
            <p:cNvSpPr/>
            <p:nvPr/>
          </p:nvSpPr>
          <p:spPr>
            <a:xfrm>
              <a:off x="381000" y="4800600"/>
              <a:ext cx="1219200" cy="17526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1C62C4-9824-47F1-AF75-E91D86E4DA56}"/>
              </a:ext>
            </a:extLst>
          </p:cNvPr>
          <p:cNvSpPr/>
          <p:nvPr/>
        </p:nvSpPr>
        <p:spPr>
          <a:xfrm>
            <a:off x="3093789" y="3912362"/>
            <a:ext cx="2652154" cy="49994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900" dirty="0" err="1">
                <a:latin typeface="Consolas" panose="020B0609020204030204" pitchFamily="49" charset="0"/>
              </a:rPr>
              <a:t>treatmentsN</a:t>
            </a:r>
            <a:r>
              <a:rPr lang="en-US" sz="900" dirty="0">
                <a:latin typeface="Consolas" panose="020B0609020204030204" pitchFamily="49" charset="0"/>
              </a:rPr>
              <a:t> &lt;- </a:t>
            </a:r>
            <a:r>
              <a:rPr lang="en-US" sz="900" dirty="0" err="1">
                <a:latin typeface="Consolas" panose="020B0609020204030204" pitchFamily="49" charset="0"/>
              </a:rPr>
              <a:t>designTreatmentsN</a:t>
            </a:r>
            <a:r>
              <a:rPr lang="en-US" sz="900" dirty="0">
                <a:latin typeface="Consolas" panose="020B0609020204030204" pitchFamily="49" charset="0"/>
              </a:rPr>
              <a:t>(...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C50C47D-7D68-497D-8F9D-F175D8044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4539" y="2108977"/>
            <a:ext cx="2864890" cy="110223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82959FD-7007-4BB9-9B8C-BBF7151BE5E7}"/>
              </a:ext>
            </a:extLst>
          </p:cNvPr>
          <p:cNvSpPr/>
          <p:nvPr/>
        </p:nvSpPr>
        <p:spPr>
          <a:xfrm>
            <a:off x="499983" y="1603191"/>
            <a:ext cx="8144035" cy="273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err="1">
                <a:solidFill>
                  <a:schemeClr val="bg1"/>
                </a:solidFill>
              </a:rPr>
              <a:t>Vtreat</a:t>
            </a:r>
            <a:r>
              <a:rPr lang="en-US" sz="1350" dirty="0">
                <a:solidFill>
                  <a:schemeClr val="bg1"/>
                </a:solidFill>
              </a:rPr>
              <a:t> automates some data cleaning, imputation and engineers specific response encoded variables.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3C571412-90F7-DAF1-311A-EB83A1C919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00042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  <p:bldP spid="17" grpId="0"/>
      <p:bldP spid="18" grpId="0"/>
      <p:bldP spid="2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0A6E8-290C-4B3B-9AC0-A3898B403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treat</a:t>
            </a:r>
            <a:r>
              <a:rPr lang="en-US" dirty="0"/>
              <a:t> adjusts data in many ways.</a:t>
            </a:r>
          </a:p>
        </p:txBody>
      </p:sp>
      <p:graphicFrame>
        <p:nvGraphicFramePr>
          <p:cNvPr id="3" name="Group 3">
            <a:extLst>
              <a:ext uri="{FF2B5EF4-FFF2-40B4-BE49-F238E27FC236}">
                <a16:creationId xmlns:a16="http://schemas.microsoft.com/office/drawing/2014/main" id="{6F18B3D8-EB75-4D4C-96D6-B7DE4A1160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6436958"/>
              </p:ext>
            </p:extLst>
          </p:nvPr>
        </p:nvGraphicFramePr>
        <p:xfrm>
          <a:off x="274462" y="1417638"/>
          <a:ext cx="8489865" cy="4005834"/>
        </p:xfrm>
        <a:graphic>
          <a:graphicData uri="http://schemas.openxmlformats.org/drawingml/2006/table">
            <a:tbl>
              <a:tblPr/>
              <a:tblGrid>
                <a:gridCol w="2646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0122">
                  <a:extLst>
                    <a:ext uri="{9D8B030D-6E8A-4147-A177-3AD203B41FA5}">
                      <a16:colId xmlns:a16="http://schemas.microsoft.com/office/drawing/2014/main" val="3943134416"/>
                    </a:ext>
                  </a:extLst>
                </a:gridCol>
                <a:gridCol w="50136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0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lnSpc>
                          <a:spcPct val="11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Action</a:t>
                      </a:r>
                    </a:p>
                  </a:txBody>
                  <a:tcPr marL="68580" marR="68580" marT="68580" marB="68580" anchor="ctr">
                    <a:lnL w="12700" cmpd="sng">
                      <a:noFill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Type</a:t>
                      </a:r>
                    </a:p>
                  </a:txBody>
                  <a:tcPr marL="68580" marR="68580" marT="68580" marB="6858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Description</a:t>
                      </a:r>
                    </a:p>
                  </a:txBody>
                  <a:tcPr marL="68580" marR="68580" marT="68580" marB="6858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</a:rPr>
                        <a:t>Imputation</a:t>
                      </a:r>
                      <a:endParaRPr kumimoji="0" lang="en-U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, Nan, Inf replacement with mean 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mputation Indicator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pend a binary column as imputation fla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</a:rPr>
                        <a:t>Dummy Variables</a:t>
                      </a:r>
                      <a:endParaRPr kumimoji="0" lang="en-U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e dummy variables for categorical variables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4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onstant Attribute Suppression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move variables with a single value.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8167695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evel Deviation –”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D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”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“deviation fact” about a categorical level. Tells us if ‘y’ is concentrated or diffuse when conditioned on the observed level of the original categorical variable. 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112594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evel Prevalence- 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P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”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“prevalence fact” about a categorical level. Tells us if the original level was rare or common. 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636004"/>
                  </a:ext>
                </a:extLst>
              </a:tr>
              <a:tr h="8693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Estimated Single Variable Effects –</a:t>
                      </a:r>
                    </a:p>
                    <a:p>
                      <a:pPr marL="517525" marR="0" lvl="1" indent="-603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B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” = categorical outcome w/Bayesian</a:t>
                      </a:r>
                    </a:p>
                    <a:p>
                      <a:pPr marL="517525" marR="0" lvl="1" indent="-603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N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” = numeric outcome w/Regression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single variable Bayesian model of the change in logit-odds in outcome from mean distribution conditioned on the observed value of the original variable.</a:t>
                      </a:r>
                    </a:p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single variable regression model of the difference in outcome expectation conditioned on the observed value of the original variable.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838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Rare Cats*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2"/>
                          </a:solidFill>
                        </a:rPr>
                        <a:t>For categorical levels below a frequency threshold, pool different levels into a common “rare-level” variable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467917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65465BB-00FC-6603-ACB9-436A886EAF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127191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8476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new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07C2A5EA-3AF3-7C38-EFB1-89D3814C6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3494CFA-85FB-9E97-464F-D2DEAF0E4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00645CC-E8C5-88A7-15B6-6E6E53D6B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628650" y="4738255"/>
            <a:ext cx="7201939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96438" y="4380805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462751" y="2776451"/>
            <a:ext cx="583969" cy="17332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cxnSpLocks/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B08804-7A96-07D1-630F-07C0A76F4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20562D-E153-3B70-93D6-E2256BD234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406506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cxnSpLocks/>
            <a:stCxn id="16" idx="3"/>
            <a:endCxn id="13" idx="3"/>
          </p:cNvCxnSpPr>
          <p:nvPr/>
        </p:nvCxnSpPr>
        <p:spPr>
          <a:xfrm flipV="1">
            <a:off x="7614458" y="1961804"/>
            <a:ext cx="1213658" cy="2589342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B2F833-6F45-A215-F044-03DC202938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BC611C6-5B36-197F-2B4D-0E127B1DA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cxnSpLocks/>
            <a:stCxn id="11" idx="3"/>
            <a:endCxn id="13" idx="3"/>
          </p:cNvCxnSpPr>
          <p:nvPr/>
        </p:nvCxnSpPr>
        <p:spPr>
          <a:xfrm flipV="1">
            <a:off x="7614458" y="1853739"/>
            <a:ext cx="1213658" cy="2652004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39742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FC4630-D2A8-E0A9-940B-473562AAD8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AE6DDC1-BDBC-BD72-7D46-E9AAECFD21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8" y="3054927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9C6AEA1-4BBC-C4CF-6AFE-160A51812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EEA2A-5900-D144-E214-5F8A1E9FCF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043" y="4054253"/>
            <a:ext cx="7800784" cy="7675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9648CEA-A9A3-3771-9B12-CD9D70C5A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812" y="2166048"/>
            <a:ext cx="7426491" cy="730719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1933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 – 98 variable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188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 – 29 variables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4058653" y="2285037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4202069" y="4196294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BFFC4BB-5590-FD46-BECF-C5BE526797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D0A394D-5250-C030-DB2F-86E8C6872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F4A4EC7-AFD4-14B7-BDDE-F4D136482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8AA6D31-4E3C-D0D7-DE20-8B9E7D5CC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F87193D-A297-4F76-BEF4-28CE5DA4E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F137018-CE14-818E-A436-F98EFC431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071E9D1-2450-209D-8184-73D79E5C4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425B73B-CFD7-5115-A364-CA8BEB1023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4" name="Footer Placeholder 5">
            <a:extLst>
              <a:ext uri="{FF2B5EF4-FFF2-40B4-BE49-F238E27FC236}">
                <a16:creationId xmlns:a16="http://schemas.microsoft.com/office/drawing/2014/main" id="{237D58A0-C1AE-3766-B48F-9FC7B703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0A4C4F9-C457-915F-79F6-BDB0FA767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/25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2A2A194-5813-F548-2FC0-05CAE2ABF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09</TotalTime>
  <Words>2019</Words>
  <Application>Microsoft Macintosh PowerPoint</Application>
  <PresentationFormat>On-screen Show (4:3)</PresentationFormat>
  <Paragraphs>457</Paragraphs>
  <Slides>43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3" baseType="lpstr">
      <vt:lpstr>ＭＳ Ｐゴシック</vt:lpstr>
      <vt:lpstr>Arial</vt:lpstr>
      <vt:lpstr>Calibri</vt:lpstr>
      <vt:lpstr>Cambria Math</vt:lpstr>
      <vt:lpstr>Consolas</vt:lpstr>
      <vt:lpstr>Franklin Gothic Book</vt:lpstr>
      <vt:lpstr>Open Sans</vt:lpstr>
      <vt:lpstr>Wingdings 2</vt:lpstr>
      <vt:lpstr>1_Office Theme</vt:lpstr>
      <vt:lpstr>think-cell Slide</vt:lpstr>
      <vt:lpstr>Regression</vt:lpstr>
      <vt:lpstr>Let’s Practice</vt:lpstr>
      <vt:lpstr>The Problem of Overfitting</vt:lpstr>
      <vt:lpstr>100% fit – not useful for new data</vt:lpstr>
      <vt:lpstr>Another view of overfitting to a problem…</vt:lpstr>
      <vt:lpstr>Minimize Overfitting - Partitioning</vt:lpstr>
      <vt:lpstr>Minimize Overfitting - Partitioning</vt:lpstr>
      <vt:lpstr>Best Practice </vt:lpstr>
      <vt:lpstr>Next Glass</vt:lpstr>
      <vt:lpstr>Let’s Practice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What’s really going on?</vt:lpstr>
      <vt:lpstr>So what is really going on?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Modeling Process</vt:lpstr>
      <vt:lpstr>Variable Treatment: library(vtreat)</vt:lpstr>
      <vt:lpstr>Vtreat adjusts data in many ways.</vt:lpstr>
      <vt:lpstr>Let’s practice.</vt:lpstr>
      <vt:lpstr>Regression is susceptible to multi-colinearity</vt:lpstr>
      <vt:lpstr>The Summary of the Fit</vt:lpstr>
      <vt:lpstr>The Summary of the Fit</vt:lpstr>
      <vt:lpstr>The Summary of the Fit</vt:lpstr>
      <vt:lpstr>Back to the script C</vt:lpstr>
      <vt:lpstr>Parsimonious Model</vt:lpstr>
      <vt:lpstr>Compare the two models</vt:lpstr>
      <vt:lpstr>Evaluating a Prediction Model</vt:lpstr>
      <vt:lpstr>RMSE</vt:lpstr>
      <vt:lpstr>RMSE</vt:lpstr>
      <vt:lpstr>Back to script C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Ted Kwartler</cp:lastModifiedBy>
  <cp:revision>277</cp:revision>
  <dcterms:created xsi:type="dcterms:W3CDTF">2018-05-23T17:24:59Z</dcterms:created>
  <dcterms:modified xsi:type="dcterms:W3CDTF">2024-01-25T19:43:34Z</dcterms:modified>
</cp:coreProperties>
</file>